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7"/>
  </p:notesMasterIdLst>
  <p:sldIdLst>
    <p:sldId id="366" r:id="rId2"/>
    <p:sldId id="367" r:id="rId3"/>
    <p:sldId id="369" r:id="rId4"/>
    <p:sldId id="370" r:id="rId5"/>
    <p:sldId id="368" r:id="rId6"/>
  </p:sldIdLst>
  <p:sldSz cx="12192000" cy="6858000"/>
  <p:notesSz cx="6858000" cy="9144000"/>
  <p:embeddedFontLst>
    <p:embeddedFont>
      <p:font typeface="Rubik" panose="00000500000000000000" pitchFamily="50" charset="-79"/>
      <p:regular r:id="rId8"/>
      <p:bold r:id="rId9"/>
      <p:italic r:id="rId10"/>
    </p:embeddedFont>
    <p:embeddedFont>
      <p:font typeface="Trebuchet MS" panose="020B0603020202020204" pitchFamily="34" charset="0"/>
      <p:regular r:id="rId11"/>
      <p:bold r:id="rId12"/>
      <p:italic r:id="rId13"/>
      <p:boldItalic r:id="rId14"/>
    </p:embeddedFont>
  </p:embeddedFontLst>
  <p:custDataLst>
    <p:tags r:id="rId15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3E02667-41A7-4A60-86B5-77E101F12DAB}" v="1" dt="2022-02-02T17:55:57.848"/>
  </p1510:revLst>
</p1510:revInfo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howGuides="1">
      <p:cViewPr varScale="1">
        <p:scale>
          <a:sx n="76" d="100"/>
          <a:sy n="76" d="100"/>
        </p:scale>
        <p:origin x="77" y="8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5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4.fntdata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font" Target="fonts/font3.fntdata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font" Target="fonts/font2.fntdata"/><Relationship Id="rId14" Type="http://schemas.openxmlformats.org/officeDocument/2006/relationships/font" Target="fonts/font7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ollapally, Niveed Kumar Reddy" userId="28c4fb1b-a9b6-485c-8fb3-0353347fb226" providerId="ADAL" clId="{F94251E5-0B3B-437C-9C4B-8ABB2BD5D3DA}"/>
    <pc:docChg chg="undo custSel modSld">
      <pc:chgData name="Bollapally, Niveed Kumar Reddy" userId="28c4fb1b-a9b6-485c-8fb3-0353347fb226" providerId="ADAL" clId="{F94251E5-0B3B-437C-9C4B-8ABB2BD5D3DA}" dt="2022-01-29T13:11:56.894" v="804" actId="20577"/>
      <pc:docMkLst>
        <pc:docMk/>
      </pc:docMkLst>
      <pc:sldChg chg="addSp delSp modSp mod">
        <pc:chgData name="Bollapally, Niveed Kumar Reddy" userId="28c4fb1b-a9b6-485c-8fb3-0353347fb226" providerId="ADAL" clId="{F94251E5-0B3B-437C-9C4B-8ABB2BD5D3DA}" dt="2022-01-29T12:50:52.238" v="134" actId="478"/>
        <pc:sldMkLst>
          <pc:docMk/>
          <pc:sldMk cId="684571084" sldId="366"/>
        </pc:sldMkLst>
        <pc:spChg chg="add del mod">
          <ac:chgData name="Bollapally, Niveed Kumar Reddy" userId="28c4fb1b-a9b6-485c-8fb3-0353347fb226" providerId="ADAL" clId="{F94251E5-0B3B-437C-9C4B-8ABB2BD5D3DA}" dt="2022-01-29T12:44:30.541" v="85" actId="478"/>
          <ac:spMkLst>
            <pc:docMk/>
            <pc:sldMk cId="684571084" sldId="366"/>
            <ac:spMk id="5" creationId="{1AC1E9FA-2252-4C17-944C-ABCCC2142E87}"/>
          </ac:spMkLst>
        </pc:spChg>
        <pc:spChg chg="add del mod">
          <ac:chgData name="Bollapally, Niveed Kumar Reddy" userId="28c4fb1b-a9b6-485c-8fb3-0353347fb226" providerId="ADAL" clId="{F94251E5-0B3B-437C-9C4B-8ABB2BD5D3DA}" dt="2022-01-29T12:44:51.309" v="88" actId="478"/>
          <ac:spMkLst>
            <pc:docMk/>
            <pc:sldMk cId="684571084" sldId="366"/>
            <ac:spMk id="9" creationId="{31F0BA12-2FEA-4B41-85F6-5E613F116A0E}"/>
          </ac:spMkLst>
        </pc:spChg>
        <pc:spChg chg="add del mod">
          <ac:chgData name="Bollapally, Niveed Kumar Reddy" userId="28c4fb1b-a9b6-485c-8fb3-0353347fb226" providerId="ADAL" clId="{F94251E5-0B3B-437C-9C4B-8ABB2BD5D3DA}" dt="2022-01-29T12:44:59.822" v="90" actId="21"/>
          <ac:spMkLst>
            <pc:docMk/>
            <pc:sldMk cId="684571084" sldId="366"/>
            <ac:spMk id="11" creationId="{E97E24C2-6A84-4948-94D1-28B3D6234179}"/>
          </ac:spMkLst>
        </pc:spChg>
        <pc:spChg chg="mod">
          <ac:chgData name="Bollapally, Niveed Kumar Reddy" userId="28c4fb1b-a9b6-485c-8fb3-0353347fb226" providerId="ADAL" clId="{F94251E5-0B3B-437C-9C4B-8ABB2BD5D3DA}" dt="2022-01-29T12:47:58.116" v="113" actId="1076"/>
          <ac:spMkLst>
            <pc:docMk/>
            <pc:sldMk cId="684571084" sldId="366"/>
            <ac:spMk id="16" creationId="{6D6DA9F7-DB64-4567-BE8E-E069C1B10127}"/>
          </ac:spMkLst>
        </pc:spChg>
        <pc:spChg chg="mod">
          <ac:chgData name="Bollapally, Niveed Kumar Reddy" userId="28c4fb1b-a9b6-485c-8fb3-0353347fb226" providerId="ADAL" clId="{F94251E5-0B3B-437C-9C4B-8ABB2BD5D3DA}" dt="2022-01-29T12:47:56.674" v="112" actId="1076"/>
          <ac:spMkLst>
            <pc:docMk/>
            <pc:sldMk cId="684571084" sldId="366"/>
            <ac:spMk id="17" creationId="{86EFEFE6-40D8-4F98-A8DC-DB4A69331A78}"/>
          </ac:spMkLst>
        </pc:spChg>
        <pc:spChg chg="mod">
          <ac:chgData name="Bollapally, Niveed Kumar Reddy" userId="28c4fb1b-a9b6-485c-8fb3-0353347fb226" providerId="ADAL" clId="{F94251E5-0B3B-437C-9C4B-8ABB2BD5D3DA}" dt="2022-01-29T12:41:37.933" v="73" actId="20577"/>
          <ac:spMkLst>
            <pc:docMk/>
            <pc:sldMk cId="684571084" sldId="366"/>
            <ac:spMk id="18" creationId="{1A8455E1-E124-45CE-B4DD-AE99CCF9A248}"/>
          </ac:spMkLst>
        </pc:spChg>
        <pc:spChg chg="add del">
          <ac:chgData name="Bollapally, Niveed Kumar Reddy" userId="28c4fb1b-a9b6-485c-8fb3-0353347fb226" providerId="ADAL" clId="{F94251E5-0B3B-437C-9C4B-8ABB2BD5D3DA}" dt="2022-01-29T12:48:44.451" v="114" actId="931"/>
          <ac:spMkLst>
            <pc:docMk/>
            <pc:sldMk cId="684571084" sldId="366"/>
            <ac:spMk id="19" creationId="{BBAF474D-C48B-47A3-AD43-776B973A4A16}"/>
          </ac:spMkLst>
        </pc:spChg>
        <pc:picChg chg="add del mod ord modCrop">
          <ac:chgData name="Bollapally, Niveed Kumar Reddy" userId="28c4fb1b-a9b6-485c-8fb3-0353347fb226" providerId="ADAL" clId="{F94251E5-0B3B-437C-9C4B-8ABB2BD5D3DA}" dt="2022-01-29T12:45:04.057" v="101" actId="22"/>
          <ac:picMkLst>
            <pc:docMk/>
            <pc:sldMk cId="684571084" sldId="366"/>
            <ac:picMk id="3" creationId="{F6421760-F515-4811-BF50-4788B3D713C2}"/>
          </ac:picMkLst>
        </pc:picChg>
        <pc:picChg chg="add del mod">
          <ac:chgData name="Bollapally, Niveed Kumar Reddy" userId="28c4fb1b-a9b6-485c-8fb3-0353347fb226" providerId="ADAL" clId="{F94251E5-0B3B-437C-9C4B-8ABB2BD5D3DA}" dt="2022-01-29T12:46:01.412" v="109"/>
          <ac:picMkLst>
            <pc:docMk/>
            <pc:sldMk cId="684571084" sldId="366"/>
            <ac:picMk id="12" creationId="{B5A0FB33-35F4-492C-AC1F-A356F9E71ADB}"/>
          </ac:picMkLst>
        </pc:picChg>
        <pc:picChg chg="add mod">
          <ac:chgData name="Bollapally, Niveed Kumar Reddy" userId="28c4fb1b-a9b6-485c-8fb3-0353347fb226" providerId="ADAL" clId="{F94251E5-0B3B-437C-9C4B-8ABB2BD5D3DA}" dt="2022-01-29T12:49:15.360" v="121" actId="962"/>
          <ac:picMkLst>
            <pc:docMk/>
            <pc:sldMk cId="684571084" sldId="366"/>
            <ac:picMk id="14" creationId="{379C5F59-8B65-447B-8DA4-3F27998709F5}"/>
          </ac:picMkLst>
        </pc:picChg>
        <pc:picChg chg="add del mod">
          <ac:chgData name="Bollapally, Niveed Kumar Reddy" userId="28c4fb1b-a9b6-485c-8fb3-0353347fb226" providerId="ADAL" clId="{F94251E5-0B3B-437C-9C4B-8ABB2BD5D3DA}" dt="2022-01-29T12:50:52.238" v="134" actId="478"/>
          <ac:picMkLst>
            <pc:docMk/>
            <pc:sldMk cId="684571084" sldId="366"/>
            <ac:picMk id="15" creationId="{9369A5D6-B24F-416B-A02D-D8CA79532F15}"/>
          </ac:picMkLst>
        </pc:picChg>
        <pc:picChg chg="add del mod">
          <ac:chgData name="Bollapally, Niveed Kumar Reddy" userId="28c4fb1b-a9b6-485c-8fb3-0353347fb226" providerId="ADAL" clId="{F94251E5-0B3B-437C-9C4B-8ABB2BD5D3DA}" dt="2022-01-29T12:45:41.779" v="105"/>
          <ac:picMkLst>
            <pc:docMk/>
            <pc:sldMk cId="684571084" sldId="366"/>
            <ac:picMk id="20" creationId="{857C26D5-A7E5-4B8B-8E58-42CF36192A36}"/>
          </ac:picMkLst>
        </pc:picChg>
      </pc:sldChg>
      <pc:sldChg chg="modSp mod">
        <pc:chgData name="Bollapally, Niveed Kumar Reddy" userId="28c4fb1b-a9b6-485c-8fb3-0353347fb226" providerId="ADAL" clId="{F94251E5-0B3B-437C-9C4B-8ABB2BD5D3DA}" dt="2022-01-29T13:01:43.591" v="512" actId="20577"/>
        <pc:sldMkLst>
          <pc:docMk/>
          <pc:sldMk cId="1022597847" sldId="367"/>
        </pc:sldMkLst>
        <pc:spChg chg="mod">
          <ac:chgData name="Bollapally, Niveed Kumar Reddy" userId="28c4fb1b-a9b6-485c-8fb3-0353347fb226" providerId="ADAL" clId="{F94251E5-0B3B-437C-9C4B-8ABB2BD5D3DA}" dt="2022-01-29T12:51:19.618" v="142" actId="20577"/>
          <ac:spMkLst>
            <pc:docMk/>
            <pc:sldMk cId="1022597847" sldId="367"/>
            <ac:spMk id="2" creationId="{6F28F343-BA60-4E08-9E39-5B5A8795CDA4}"/>
          </ac:spMkLst>
        </pc:spChg>
        <pc:spChg chg="mod">
          <ac:chgData name="Bollapally, Niveed Kumar Reddy" userId="28c4fb1b-a9b6-485c-8fb3-0353347fb226" providerId="ADAL" clId="{F94251E5-0B3B-437C-9C4B-8ABB2BD5D3DA}" dt="2022-01-29T13:01:43.591" v="512" actId="20577"/>
          <ac:spMkLst>
            <pc:docMk/>
            <pc:sldMk cId="1022597847" sldId="367"/>
            <ac:spMk id="6" creationId="{525CBB0E-B869-4882-8948-65DD257EDC97}"/>
          </ac:spMkLst>
        </pc:spChg>
      </pc:sldChg>
      <pc:sldChg chg="addSp delSp modSp mod modClrScheme chgLayout">
        <pc:chgData name="Bollapally, Niveed Kumar Reddy" userId="28c4fb1b-a9b6-485c-8fb3-0353347fb226" providerId="ADAL" clId="{F94251E5-0B3B-437C-9C4B-8ABB2BD5D3DA}" dt="2022-01-29T13:11:56.894" v="804" actId="20577"/>
        <pc:sldMkLst>
          <pc:docMk/>
          <pc:sldMk cId="1336772705" sldId="369"/>
        </pc:sldMkLst>
        <pc:spChg chg="mod ord">
          <ac:chgData name="Bollapally, Niveed Kumar Reddy" userId="28c4fb1b-a9b6-485c-8fb3-0353347fb226" providerId="ADAL" clId="{F94251E5-0B3B-437C-9C4B-8ABB2BD5D3DA}" dt="2022-01-29T13:04:54.566" v="525" actId="26606"/>
          <ac:spMkLst>
            <pc:docMk/>
            <pc:sldMk cId="1336772705" sldId="369"/>
            <ac:spMk id="2" creationId="{3729475E-5342-4F14-86B6-B051CA586F3F}"/>
          </ac:spMkLst>
        </pc:spChg>
        <pc:spChg chg="mod">
          <ac:chgData name="Bollapally, Niveed Kumar Reddy" userId="28c4fb1b-a9b6-485c-8fb3-0353347fb226" providerId="ADAL" clId="{F94251E5-0B3B-437C-9C4B-8ABB2BD5D3DA}" dt="2022-01-29T13:04:54.566" v="525" actId="26606"/>
          <ac:spMkLst>
            <pc:docMk/>
            <pc:sldMk cId="1336772705" sldId="369"/>
            <ac:spMk id="3" creationId="{29F384B6-4E30-43F2-856C-4931E95D1C09}"/>
          </ac:spMkLst>
        </pc:spChg>
        <pc:spChg chg="mod">
          <ac:chgData name="Bollapally, Niveed Kumar Reddy" userId="28c4fb1b-a9b6-485c-8fb3-0353347fb226" providerId="ADAL" clId="{F94251E5-0B3B-437C-9C4B-8ABB2BD5D3DA}" dt="2022-01-29T13:04:54.566" v="525" actId="26606"/>
          <ac:spMkLst>
            <pc:docMk/>
            <pc:sldMk cId="1336772705" sldId="369"/>
            <ac:spMk id="4" creationId="{5F02E374-7038-4DE3-AA02-A2C34A7E519F}"/>
          </ac:spMkLst>
        </pc:spChg>
        <pc:spChg chg="del">
          <ac:chgData name="Bollapally, Niveed Kumar Reddy" userId="28c4fb1b-a9b6-485c-8fb3-0353347fb226" providerId="ADAL" clId="{F94251E5-0B3B-437C-9C4B-8ABB2BD5D3DA}" dt="2022-01-29T13:03:07.400" v="514" actId="26606"/>
          <ac:spMkLst>
            <pc:docMk/>
            <pc:sldMk cId="1336772705" sldId="369"/>
            <ac:spMk id="5" creationId="{52816D73-16BF-4DE5-9470-389365833768}"/>
          </ac:spMkLst>
        </pc:spChg>
        <pc:spChg chg="del">
          <ac:chgData name="Bollapally, Niveed Kumar Reddy" userId="28c4fb1b-a9b6-485c-8fb3-0353347fb226" providerId="ADAL" clId="{F94251E5-0B3B-437C-9C4B-8ABB2BD5D3DA}" dt="2022-01-29T13:03:02.060" v="513" actId="22"/>
          <ac:spMkLst>
            <pc:docMk/>
            <pc:sldMk cId="1336772705" sldId="369"/>
            <ac:spMk id="6" creationId="{8300A30E-56D3-4B3A-8CDB-4EC8BF085B07}"/>
          </ac:spMkLst>
        </pc:spChg>
        <pc:spChg chg="add del mod">
          <ac:chgData name="Bollapally, Niveed Kumar Reddy" userId="28c4fb1b-a9b6-485c-8fb3-0353347fb226" providerId="ADAL" clId="{F94251E5-0B3B-437C-9C4B-8ABB2BD5D3DA}" dt="2022-01-29T13:03:53.682" v="516" actId="26606"/>
          <ac:spMkLst>
            <pc:docMk/>
            <pc:sldMk cId="1336772705" sldId="369"/>
            <ac:spMk id="13" creationId="{1E0C0E5E-3DBC-4403-8B43-FF606DCC391D}"/>
          </ac:spMkLst>
        </pc:spChg>
        <pc:spChg chg="add del mod">
          <ac:chgData name="Bollapally, Niveed Kumar Reddy" userId="28c4fb1b-a9b6-485c-8fb3-0353347fb226" providerId="ADAL" clId="{F94251E5-0B3B-437C-9C4B-8ABB2BD5D3DA}" dt="2022-01-29T13:03:53.682" v="516" actId="26606"/>
          <ac:spMkLst>
            <pc:docMk/>
            <pc:sldMk cId="1336772705" sldId="369"/>
            <ac:spMk id="15" creationId="{B3C992E7-BAE9-4B0F-B3CF-CDD4CC59122A}"/>
          </ac:spMkLst>
        </pc:spChg>
        <pc:spChg chg="add del mod">
          <ac:chgData name="Bollapally, Niveed Kumar Reddy" userId="28c4fb1b-a9b6-485c-8fb3-0353347fb226" providerId="ADAL" clId="{F94251E5-0B3B-437C-9C4B-8ABB2BD5D3DA}" dt="2022-01-29T13:03:53.682" v="516" actId="26606"/>
          <ac:spMkLst>
            <pc:docMk/>
            <pc:sldMk cId="1336772705" sldId="369"/>
            <ac:spMk id="17" creationId="{7A30B9DB-6007-4083-B8D1-8AB7CAE524B7}"/>
          </ac:spMkLst>
        </pc:spChg>
        <pc:spChg chg="add del mod">
          <ac:chgData name="Bollapally, Niveed Kumar Reddy" userId="28c4fb1b-a9b6-485c-8fb3-0353347fb226" providerId="ADAL" clId="{F94251E5-0B3B-437C-9C4B-8ABB2BD5D3DA}" dt="2022-01-29T13:06:10.105" v="536" actId="22"/>
          <ac:spMkLst>
            <pc:docMk/>
            <pc:sldMk cId="1336772705" sldId="369"/>
            <ac:spMk id="19" creationId="{D5389C17-E740-4D0A-87B3-18F82AE99764}"/>
          </ac:spMkLst>
        </pc:spChg>
        <pc:spChg chg="add del mod">
          <ac:chgData name="Bollapally, Niveed Kumar Reddy" userId="28c4fb1b-a9b6-485c-8fb3-0353347fb226" providerId="ADAL" clId="{F94251E5-0B3B-437C-9C4B-8ABB2BD5D3DA}" dt="2022-01-29T13:04:17.207" v="520" actId="26606"/>
          <ac:spMkLst>
            <pc:docMk/>
            <pc:sldMk cId="1336772705" sldId="369"/>
            <ac:spMk id="22" creationId="{CFAD56CB-83CC-4EB7-8742-5D257D40D3EA}"/>
          </ac:spMkLst>
        </pc:spChg>
        <pc:spChg chg="add del mod">
          <ac:chgData name="Bollapally, Niveed Kumar Reddy" userId="28c4fb1b-a9b6-485c-8fb3-0353347fb226" providerId="ADAL" clId="{F94251E5-0B3B-437C-9C4B-8ABB2BD5D3DA}" dt="2022-01-29T13:04:17.207" v="520" actId="26606"/>
          <ac:spMkLst>
            <pc:docMk/>
            <pc:sldMk cId="1336772705" sldId="369"/>
            <ac:spMk id="24" creationId="{F43498BD-A186-432D-9B34-8F4DEDA7AB07}"/>
          </ac:spMkLst>
        </pc:spChg>
        <pc:spChg chg="add del mod">
          <ac:chgData name="Bollapally, Niveed Kumar Reddy" userId="28c4fb1b-a9b6-485c-8fb3-0353347fb226" providerId="ADAL" clId="{F94251E5-0B3B-437C-9C4B-8ABB2BD5D3DA}" dt="2022-01-29T13:04:17.207" v="520" actId="26606"/>
          <ac:spMkLst>
            <pc:docMk/>
            <pc:sldMk cId="1336772705" sldId="369"/>
            <ac:spMk id="26" creationId="{41063A32-488C-4429-B212-91FA0A710085}"/>
          </ac:spMkLst>
        </pc:spChg>
        <pc:spChg chg="add del mod">
          <ac:chgData name="Bollapally, Niveed Kumar Reddy" userId="28c4fb1b-a9b6-485c-8fb3-0353347fb226" providerId="ADAL" clId="{F94251E5-0B3B-437C-9C4B-8ABB2BD5D3DA}" dt="2022-01-29T13:04:17.207" v="520" actId="26606"/>
          <ac:spMkLst>
            <pc:docMk/>
            <pc:sldMk cId="1336772705" sldId="369"/>
            <ac:spMk id="28" creationId="{C32040E1-9F5B-459F-B959-6D92F1624316}"/>
          </ac:spMkLst>
        </pc:spChg>
        <pc:spChg chg="add del mod">
          <ac:chgData name="Bollapally, Niveed Kumar Reddy" userId="28c4fb1b-a9b6-485c-8fb3-0353347fb226" providerId="ADAL" clId="{F94251E5-0B3B-437C-9C4B-8ABB2BD5D3DA}" dt="2022-01-29T13:04:17.207" v="520" actId="26606"/>
          <ac:spMkLst>
            <pc:docMk/>
            <pc:sldMk cId="1336772705" sldId="369"/>
            <ac:spMk id="30" creationId="{A012D3CA-5478-42D6-BEFA-1D8971A7D9C2}"/>
          </ac:spMkLst>
        </pc:spChg>
        <pc:spChg chg="add del mod">
          <ac:chgData name="Bollapally, Niveed Kumar Reddy" userId="28c4fb1b-a9b6-485c-8fb3-0353347fb226" providerId="ADAL" clId="{F94251E5-0B3B-437C-9C4B-8ABB2BD5D3DA}" dt="2022-01-29T13:04:17.207" v="520" actId="26606"/>
          <ac:spMkLst>
            <pc:docMk/>
            <pc:sldMk cId="1336772705" sldId="369"/>
            <ac:spMk id="32" creationId="{F6C34B36-715C-4DE6-BE16-FD49FAB84EDF}"/>
          </ac:spMkLst>
        </pc:spChg>
        <pc:spChg chg="add del mod">
          <ac:chgData name="Bollapally, Niveed Kumar Reddy" userId="28c4fb1b-a9b6-485c-8fb3-0353347fb226" providerId="ADAL" clId="{F94251E5-0B3B-437C-9C4B-8ABB2BD5D3DA}" dt="2022-01-29T13:04:17.207" v="520" actId="26606"/>
          <ac:spMkLst>
            <pc:docMk/>
            <pc:sldMk cId="1336772705" sldId="369"/>
            <ac:spMk id="34" creationId="{71960C10-1494-4453-9882-4933B566AB93}"/>
          </ac:spMkLst>
        </pc:spChg>
        <pc:spChg chg="add del mod">
          <ac:chgData name="Bollapally, Niveed Kumar Reddy" userId="28c4fb1b-a9b6-485c-8fb3-0353347fb226" providerId="ADAL" clId="{F94251E5-0B3B-437C-9C4B-8ABB2BD5D3DA}" dt="2022-01-29T13:04:17.189" v="519" actId="26606"/>
          <ac:spMkLst>
            <pc:docMk/>
            <pc:sldMk cId="1336772705" sldId="369"/>
            <ac:spMk id="39" creationId="{E4C828B6-21B7-4507-9C14-28753D1818E5}"/>
          </ac:spMkLst>
        </pc:spChg>
        <pc:spChg chg="add del mod">
          <ac:chgData name="Bollapally, Niveed Kumar Reddy" userId="28c4fb1b-a9b6-485c-8fb3-0353347fb226" providerId="ADAL" clId="{F94251E5-0B3B-437C-9C4B-8ABB2BD5D3DA}" dt="2022-01-29T13:04:17.189" v="519" actId="26606"/>
          <ac:spMkLst>
            <pc:docMk/>
            <pc:sldMk cId="1336772705" sldId="369"/>
            <ac:spMk id="41" creationId="{E1B81DE1-A899-4C8F-848B-23C82075E02A}"/>
          </ac:spMkLst>
        </pc:spChg>
        <pc:spChg chg="add del mod">
          <ac:chgData name="Bollapally, Niveed Kumar Reddy" userId="28c4fb1b-a9b6-485c-8fb3-0353347fb226" providerId="ADAL" clId="{F94251E5-0B3B-437C-9C4B-8ABB2BD5D3DA}" dt="2022-01-29T13:04:17.189" v="519" actId="26606"/>
          <ac:spMkLst>
            <pc:docMk/>
            <pc:sldMk cId="1336772705" sldId="369"/>
            <ac:spMk id="43" creationId="{68A03A76-C5E1-493D-A5E0-ABC3FAF65D94}"/>
          </ac:spMkLst>
        </pc:spChg>
        <pc:spChg chg="add del mod">
          <ac:chgData name="Bollapally, Niveed Kumar Reddy" userId="28c4fb1b-a9b6-485c-8fb3-0353347fb226" providerId="ADAL" clId="{F94251E5-0B3B-437C-9C4B-8ABB2BD5D3DA}" dt="2022-01-29T13:04:54.566" v="525" actId="26606"/>
          <ac:spMkLst>
            <pc:docMk/>
            <pc:sldMk cId="1336772705" sldId="369"/>
            <ac:spMk id="45" creationId="{B2F13926-9AF2-4656-9E33-E2B6256D1E87}"/>
          </ac:spMkLst>
        </pc:spChg>
        <pc:spChg chg="add del mod">
          <ac:chgData name="Bollapally, Niveed Kumar Reddy" userId="28c4fb1b-a9b6-485c-8fb3-0353347fb226" providerId="ADAL" clId="{F94251E5-0B3B-437C-9C4B-8ABB2BD5D3DA}" dt="2022-01-29T13:04:54.566" v="525" actId="26606"/>
          <ac:spMkLst>
            <pc:docMk/>
            <pc:sldMk cId="1336772705" sldId="369"/>
            <ac:spMk id="46" creationId="{813129F0-8711-4711-968F-3B66C3A27D67}"/>
          </ac:spMkLst>
        </pc:spChg>
        <pc:spChg chg="add del mod">
          <ac:chgData name="Bollapally, Niveed Kumar Reddy" userId="28c4fb1b-a9b6-485c-8fb3-0353347fb226" providerId="ADAL" clId="{F94251E5-0B3B-437C-9C4B-8ABB2BD5D3DA}" dt="2022-01-29T13:04:54.566" v="525" actId="26606"/>
          <ac:spMkLst>
            <pc:docMk/>
            <pc:sldMk cId="1336772705" sldId="369"/>
            <ac:spMk id="47" creationId="{1F62E6E8-933B-4B64-B0FF-E29D5B1AC887}"/>
          </ac:spMkLst>
        </pc:spChg>
        <pc:spChg chg="add mod">
          <ac:chgData name="Bollapally, Niveed Kumar Reddy" userId="28c4fb1b-a9b6-485c-8fb3-0353347fb226" providerId="ADAL" clId="{F94251E5-0B3B-437C-9C4B-8ABB2BD5D3DA}" dt="2022-01-29T13:04:54.566" v="525" actId="26606"/>
          <ac:spMkLst>
            <pc:docMk/>
            <pc:sldMk cId="1336772705" sldId="369"/>
            <ac:spMk id="52" creationId="{4A9BD0F6-98B6-43A1-859C-EEB82319250F}"/>
          </ac:spMkLst>
        </pc:spChg>
        <pc:spChg chg="add mod">
          <ac:chgData name="Bollapally, Niveed Kumar Reddy" userId="28c4fb1b-a9b6-485c-8fb3-0353347fb226" providerId="ADAL" clId="{F94251E5-0B3B-437C-9C4B-8ABB2BD5D3DA}" dt="2022-01-29T13:10:21.056" v="665" actId="20577"/>
          <ac:spMkLst>
            <pc:docMk/>
            <pc:sldMk cId="1336772705" sldId="369"/>
            <ac:spMk id="54" creationId="{B1640204-25B7-44D6-A958-6DBB85942EF3}"/>
          </ac:spMkLst>
        </pc:spChg>
        <pc:spChg chg="add mod">
          <ac:chgData name="Bollapally, Niveed Kumar Reddy" userId="28c4fb1b-a9b6-485c-8fb3-0353347fb226" providerId="ADAL" clId="{F94251E5-0B3B-437C-9C4B-8ABB2BD5D3DA}" dt="2022-01-29T13:11:08.932" v="723" actId="20577"/>
          <ac:spMkLst>
            <pc:docMk/>
            <pc:sldMk cId="1336772705" sldId="369"/>
            <ac:spMk id="56" creationId="{7AA69BD0-B28F-4D3F-ADE1-6943875A0B27}"/>
          </ac:spMkLst>
        </pc:spChg>
        <pc:spChg chg="add mod">
          <ac:chgData name="Bollapally, Niveed Kumar Reddy" userId="28c4fb1b-a9b6-485c-8fb3-0353347fb226" providerId="ADAL" clId="{F94251E5-0B3B-437C-9C4B-8ABB2BD5D3DA}" dt="2022-01-29T13:11:34.495" v="762" actId="20577"/>
          <ac:spMkLst>
            <pc:docMk/>
            <pc:sldMk cId="1336772705" sldId="369"/>
            <ac:spMk id="58" creationId="{38F5E094-96EB-4145-963E-9DA09B7BACC3}"/>
          </ac:spMkLst>
        </pc:spChg>
        <pc:spChg chg="add mod">
          <ac:chgData name="Bollapally, Niveed Kumar Reddy" userId="28c4fb1b-a9b6-485c-8fb3-0353347fb226" providerId="ADAL" clId="{F94251E5-0B3B-437C-9C4B-8ABB2BD5D3DA}" dt="2022-01-29T13:11:56.894" v="804" actId="20577"/>
          <ac:spMkLst>
            <pc:docMk/>
            <pc:sldMk cId="1336772705" sldId="369"/>
            <ac:spMk id="60" creationId="{F58F5322-894A-41C1-BCCB-70C1C6529575}"/>
          </ac:spMkLst>
        </pc:spChg>
        <pc:spChg chg="add del mod">
          <ac:chgData name="Bollapally, Niveed Kumar Reddy" userId="28c4fb1b-a9b6-485c-8fb3-0353347fb226" providerId="ADAL" clId="{F94251E5-0B3B-437C-9C4B-8ABB2BD5D3DA}" dt="2022-01-29T13:05:48.354" v="534" actId="22"/>
          <ac:spMkLst>
            <pc:docMk/>
            <pc:sldMk cId="1336772705" sldId="369"/>
            <ac:spMk id="62" creationId="{DE085F09-53FE-484D-8C61-97FA767317AF}"/>
          </ac:spMkLst>
        </pc:spChg>
        <pc:spChg chg="add del mod">
          <ac:chgData name="Bollapally, Niveed Kumar Reddy" userId="28c4fb1b-a9b6-485c-8fb3-0353347fb226" providerId="ADAL" clId="{F94251E5-0B3B-437C-9C4B-8ABB2BD5D3DA}" dt="2022-01-29T13:07:48.911" v="542" actId="22"/>
          <ac:spMkLst>
            <pc:docMk/>
            <pc:sldMk cId="1336772705" sldId="369"/>
            <ac:spMk id="64" creationId="{8B5ECFDE-EB52-4B3A-8A31-EDBD5B7B3467}"/>
          </ac:spMkLst>
        </pc:spChg>
        <pc:picChg chg="add mod ord">
          <ac:chgData name="Bollapally, Niveed Kumar Reddy" userId="28c4fb1b-a9b6-485c-8fb3-0353347fb226" providerId="ADAL" clId="{F94251E5-0B3B-437C-9C4B-8ABB2BD5D3DA}" dt="2022-01-29T13:08:11.103" v="548" actId="14100"/>
          <ac:picMkLst>
            <pc:docMk/>
            <pc:sldMk cId="1336772705" sldId="369"/>
            <ac:picMk id="8" creationId="{72355655-2FE7-4916-8BB2-8A6BC3830466}"/>
          </ac:picMkLst>
        </pc:picChg>
        <pc:picChg chg="add del mod ord">
          <ac:chgData name="Bollapally, Niveed Kumar Reddy" userId="28c4fb1b-a9b6-485c-8fb3-0353347fb226" providerId="ADAL" clId="{F94251E5-0B3B-437C-9C4B-8ABB2BD5D3DA}" dt="2022-01-29T13:05:35.207" v="533" actId="22"/>
          <ac:picMkLst>
            <pc:docMk/>
            <pc:sldMk cId="1336772705" sldId="369"/>
            <ac:picMk id="10" creationId="{07ECC9B6-FE13-4D79-8531-2C17CB5D6415}"/>
          </ac:picMkLst>
        </pc:picChg>
        <pc:picChg chg="add mod ord">
          <ac:chgData name="Bollapally, Niveed Kumar Reddy" userId="28c4fb1b-a9b6-485c-8fb3-0353347fb226" providerId="ADAL" clId="{F94251E5-0B3B-437C-9C4B-8ABB2BD5D3DA}" dt="2022-01-29T13:08:04.185" v="546" actId="14100"/>
          <ac:picMkLst>
            <pc:docMk/>
            <pc:sldMk cId="1336772705" sldId="369"/>
            <ac:picMk id="12" creationId="{48BF635E-2CF8-4D09-9526-A8C8BAF9EE54}"/>
          </ac:picMkLst>
        </pc:picChg>
        <pc:picChg chg="add mod ord">
          <ac:chgData name="Bollapally, Niveed Kumar Reddy" userId="28c4fb1b-a9b6-485c-8fb3-0353347fb226" providerId="ADAL" clId="{F94251E5-0B3B-437C-9C4B-8ABB2BD5D3DA}" dt="2022-01-29T13:06:27.585" v="541" actId="14100"/>
          <ac:picMkLst>
            <pc:docMk/>
            <pc:sldMk cId="1336772705" sldId="369"/>
            <ac:picMk id="16" creationId="{A98E29A2-396F-4FC2-B553-EC064079F57B}"/>
          </ac:picMkLst>
        </pc:picChg>
        <pc:picChg chg="add mod ord">
          <ac:chgData name="Bollapally, Niveed Kumar Reddy" userId="28c4fb1b-a9b6-485c-8fb3-0353347fb226" providerId="ADAL" clId="{F94251E5-0B3B-437C-9C4B-8ABB2BD5D3DA}" dt="2022-01-29T13:07:56.931" v="544" actId="14100"/>
          <ac:picMkLst>
            <pc:docMk/>
            <pc:sldMk cId="1336772705" sldId="369"/>
            <ac:picMk id="20" creationId="{5D503BC4-765A-4770-86D6-B1AFD8BEC5E7}"/>
          </ac:picMkLst>
        </pc:picChg>
      </pc:sldChg>
    </pc:docChg>
  </pc:docChgLst>
  <pc:docChgLst>
    <pc:chgData name="Bagri, Richa" userId="c261b768-4c23-454a-a1a9-f76427e7e8f0" providerId="ADAL" clId="{A3E02667-41A7-4A60-86B5-77E101F12DAB}"/>
    <pc:docChg chg="undo redo custSel addSld modSld">
      <pc:chgData name="Bagri, Richa" userId="c261b768-4c23-454a-a1a9-f76427e7e8f0" providerId="ADAL" clId="{A3E02667-41A7-4A60-86B5-77E101F12DAB}" dt="2022-02-02T18:12:00.934" v="548" actId="20577"/>
      <pc:docMkLst>
        <pc:docMk/>
      </pc:docMkLst>
      <pc:sldChg chg="addSp delSp modSp mod">
        <pc:chgData name="Bagri, Richa" userId="c261b768-4c23-454a-a1a9-f76427e7e8f0" providerId="ADAL" clId="{A3E02667-41A7-4A60-86B5-77E101F12DAB}" dt="2022-02-02T17:56:59.804" v="65" actId="20577"/>
        <pc:sldMkLst>
          <pc:docMk/>
          <pc:sldMk cId="684571084" sldId="366"/>
        </pc:sldMkLst>
        <pc:spChg chg="add del mod">
          <ac:chgData name="Bagri, Richa" userId="c261b768-4c23-454a-a1a9-f76427e7e8f0" providerId="ADAL" clId="{A3E02667-41A7-4A60-86B5-77E101F12DAB}" dt="2022-02-02T17:56:03.196" v="2" actId="478"/>
          <ac:spMkLst>
            <pc:docMk/>
            <pc:sldMk cId="684571084" sldId="366"/>
            <ac:spMk id="3" creationId="{1C4A3E1E-4D6F-41DF-892F-908D99893B1A}"/>
          </ac:spMkLst>
        </pc:spChg>
        <pc:spChg chg="add del mod">
          <ac:chgData name="Bagri, Richa" userId="c261b768-4c23-454a-a1a9-f76427e7e8f0" providerId="ADAL" clId="{A3E02667-41A7-4A60-86B5-77E101F12DAB}" dt="2022-02-02T17:56:11.467" v="5" actId="478"/>
          <ac:spMkLst>
            <pc:docMk/>
            <pc:sldMk cId="684571084" sldId="366"/>
            <ac:spMk id="5" creationId="{71F92613-0A1C-4F9C-97F4-715173793129}"/>
          </ac:spMkLst>
        </pc:spChg>
        <pc:spChg chg="add del mod">
          <ac:chgData name="Bagri, Richa" userId="c261b768-4c23-454a-a1a9-f76427e7e8f0" providerId="ADAL" clId="{A3E02667-41A7-4A60-86B5-77E101F12DAB}" dt="2022-02-02T17:56:20.654" v="8" actId="21"/>
          <ac:spMkLst>
            <pc:docMk/>
            <pc:sldMk cId="684571084" sldId="366"/>
            <ac:spMk id="9" creationId="{1D5FF8FA-5324-4EF5-AD95-FC528369D7BB}"/>
          </ac:spMkLst>
        </pc:spChg>
        <pc:spChg chg="mod">
          <ac:chgData name="Bagri, Richa" userId="c261b768-4c23-454a-a1a9-f76427e7e8f0" providerId="ADAL" clId="{A3E02667-41A7-4A60-86B5-77E101F12DAB}" dt="2022-02-02T17:55:57.847" v="0"/>
          <ac:spMkLst>
            <pc:docMk/>
            <pc:sldMk cId="684571084" sldId="366"/>
            <ac:spMk id="16" creationId="{6D6DA9F7-DB64-4567-BE8E-E069C1B10127}"/>
          </ac:spMkLst>
        </pc:spChg>
        <pc:spChg chg="mod">
          <ac:chgData name="Bagri, Richa" userId="c261b768-4c23-454a-a1a9-f76427e7e8f0" providerId="ADAL" clId="{A3E02667-41A7-4A60-86B5-77E101F12DAB}" dt="2022-02-02T17:56:59.804" v="65" actId="20577"/>
          <ac:spMkLst>
            <pc:docMk/>
            <pc:sldMk cId="684571084" sldId="366"/>
            <ac:spMk id="18" creationId="{1A8455E1-E124-45CE-B4DD-AE99CCF9A248}"/>
          </ac:spMkLst>
        </pc:spChg>
        <pc:picChg chg="add del mod">
          <ac:chgData name="Bagri, Richa" userId="c261b768-4c23-454a-a1a9-f76427e7e8f0" providerId="ADAL" clId="{A3E02667-41A7-4A60-86B5-77E101F12DAB}" dt="2022-02-02T17:56:25.203" v="9" actId="1076"/>
          <ac:picMkLst>
            <pc:docMk/>
            <pc:sldMk cId="684571084" sldId="366"/>
            <ac:picMk id="14" creationId="{379C5F59-8B65-447B-8DA4-3F27998709F5}"/>
          </ac:picMkLst>
        </pc:picChg>
      </pc:sldChg>
      <pc:sldChg chg="addSp delSp modSp mod">
        <pc:chgData name="Bagri, Richa" userId="c261b768-4c23-454a-a1a9-f76427e7e8f0" providerId="ADAL" clId="{A3E02667-41A7-4A60-86B5-77E101F12DAB}" dt="2022-02-02T18:00:17.264" v="164" actId="20577"/>
        <pc:sldMkLst>
          <pc:docMk/>
          <pc:sldMk cId="1022597847" sldId="367"/>
        </pc:sldMkLst>
        <pc:spChg chg="mod">
          <ac:chgData name="Bagri, Richa" userId="c261b768-4c23-454a-a1a9-f76427e7e8f0" providerId="ADAL" clId="{A3E02667-41A7-4A60-86B5-77E101F12DAB}" dt="2022-02-02T17:55:57.847" v="0"/>
          <ac:spMkLst>
            <pc:docMk/>
            <pc:sldMk cId="1022597847" sldId="367"/>
            <ac:spMk id="2" creationId="{6F28F343-BA60-4E08-9E39-5B5A8795CDA4}"/>
          </ac:spMkLst>
        </pc:spChg>
        <pc:spChg chg="mod">
          <ac:chgData name="Bagri, Richa" userId="c261b768-4c23-454a-a1a9-f76427e7e8f0" providerId="ADAL" clId="{A3E02667-41A7-4A60-86B5-77E101F12DAB}" dt="2022-02-02T18:00:17.264" v="164" actId="20577"/>
          <ac:spMkLst>
            <pc:docMk/>
            <pc:sldMk cId="1022597847" sldId="367"/>
            <ac:spMk id="6" creationId="{525CBB0E-B869-4882-8948-65DD257EDC97}"/>
          </ac:spMkLst>
        </pc:spChg>
        <pc:picChg chg="add del">
          <ac:chgData name="Bagri, Richa" userId="c261b768-4c23-454a-a1a9-f76427e7e8f0" providerId="ADAL" clId="{A3E02667-41A7-4A60-86B5-77E101F12DAB}" dt="2022-02-02T17:58:10.940" v="72" actId="22"/>
          <ac:picMkLst>
            <pc:docMk/>
            <pc:sldMk cId="1022597847" sldId="367"/>
            <ac:picMk id="8" creationId="{30EA6644-582B-4A31-A889-CD2C62D3B0CE}"/>
          </ac:picMkLst>
        </pc:picChg>
      </pc:sldChg>
      <pc:sldChg chg="addSp delSp modSp mod">
        <pc:chgData name="Bagri, Richa" userId="c261b768-4c23-454a-a1a9-f76427e7e8f0" providerId="ADAL" clId="{A3E02667-41A7-4A60-86B5-77E101F12DAB}" dt="2022-02-02T18:06:18.759" v="226" actId="22"/>
        <pc:sldMkLst>
          <pc:docMk/>
          <pc:sldMk cId="1336772705" sldId="369"/>
        </pc:sldMkLst>
        <pc:spChg chg="add del mod">
          <ac:chgData name="Bagri, Richa" userId="c261b768-4c23-454a-a1a9-f76427e7e8f0" providerId="ADAL" clId="{A3E02667-41A7-4A60-86B5-77E101F12DAB}" dt="2022-02-02T18:01:50.743" v="168" actId="478"/>
          <ac:spMkLst>
            <pc:docMk/>
            <pc:sldMk cId="1336772705" sldId="369"/>
            <ac:spMk id="6" creationId="{62338F94-9E3B-4C6B-BE5F-DDE7723B2667}"/>
          </ac:spMkLst>
        </pc:spChg>
        <pc:spChg chg="add del mod">
          <ac:chgData name="Bagri, Richa" userId="c261b768-4c23-454a-a1a9-f76427e7e8f0" providerId="ADAL" clId="{A3E02667-41A7-4A60-86B5-77E101F12DAB}" dt="2022-02-02T18:01:50.353" v="167" actId="478"/>
          <ac:spMkLst>
            <pc:docMk/>
            <pc:sldMk cId="1336772705" sldId="369"/>
            <ac:spMk id="9" creationId="{B3ED36AA-E1B1-4C43-B335-90E8C991D2EC}"/>
          </ac:spMkLst>
        </pc:spChg>
        <pc:spChg chg="add del mod">
          <ac:chgData name="Bagri, Richa" userId="c261b768-4c23-454a-a1a9-f76427e7e8f0" providerId="ADAL" clId="{A3E02667-41A7-4A60-86B5-77E101F12DAB}" dt="2022-02-02T18:02:33.074" v="170" actId="478"/>
          <ac:spMkLst>
            <pc:docMk/>
            <pc:sldMk cId="1336772705" sldId="369"/>
            <ac:spMk id="11" creationId="{CF81E21E-B209-48B0-9B92-30436B158F63}"/>
          </ac:spMkLst>
        </pc:spChg>
        <pc:spChg chg="add del mod">
          <ac:chgData name="Bagri, Richa" userId="c261b768-4c23-454a-a1a9-f76427e7e8f0" providerId="ADAL" clId="{A3E02667-41A7-4A60-86B5-77E101F12DAB}" dt="2022-02-02T18:04:55.940" v="213" actId="22"/>
          <ac:spMkLst>
            <pc:docMk/>
            <pc:sldMk cId="1336772705" sldId="369"/>
            <ac:spMk id="14" creationId="{7AFBDB14-F8C1-41A6-B391-5B7340ACC51F}"/>
          </ac:spMkLst>
        </pc:spChg>
        <pc:spChg chg="add del mod">
          <ac:chgData name="Bagri, Richa" userId="c261b768-4c23-454a-a1a9-f76427e7e8f0" providerId="ADAL" clId="{A3E02667-41A7-4A60-86B5-77E101F12DAB}" dt="2022-02-02T18:03:01.496" v="180" actId="478"/>
          <ac:spMkLst>
            <pc:docMk/>
            <pc:sldMk cId="1336772705" sldId="369"/>
            <ac:spMk id="19" creationId="{369F447A-1467-4985-AF36-123077A07D36}"/>
          </ac:spMkLst>
        </pc:spChg>
        <pc:spChg chg="add del mod">
          <ac:chgData name="Bagri, Richa" userId="c261b768-4c23-454a-a1a9-f76427e7e8f0" providerId="ADAL" clId="{A3E02667-41A7-4A60-86B5-77E101F12DAB}" dt="2022-02-02T18:03:28.678" v="201" actId="21"/>
          <ac:spMkLst>
            <pc:docMk/>
            <pc:sldMk cId="1336772705" sldId="369"/>
            <ac:spMk id="22" creationId="{EA3032F8-AC61-4CEC-B362-302D7049972C}"/>
          </ac:spMkLst>
        </pc:spChg>
        <pc:spChg chg="add del mod">
          <ac:chgData name="Bagri, Richa" userId="c261b768-4c23-454a-a1a9-f76427e7e8f0" providerId="ADAL" clId="{A3E02667-41A7-4A60-86B5-77E101F12DAB}" dt="2022-02-02T18:06:18.759" v="226" actId="22"/>
          <ac:spMkLst>
            <pc:docMk/>
            <pc:sldMk cId="1336772705" sldId="369"/>
            <ac:spMk id="24" creationId="{D06A8CA3-6B81-4481-A81B-04FB19EA479D}"/>
          </ac:spMkLst>
        </pc:spChg>
        <pc:spChg chg="add del mod">
          <ac:chgData name="Bagri, Richa" userId="c261b768-4c23-454a-a1a9-f76427e7e8f0" providerId="ADAL" clId="{A3E02667-41A7-4A60-86B5-77E101F12DAB}" dt="2022-02-02T18:05:32.627" v="222" actId="22"/>
          <ac:spMkLst>
            <pc:docMk/>
            <pc:sldMk cId="1336772705" sldId="369"/>
            <ac:spMk id="32" creationId="{D2144520-816E-4DC8-85AD-18F315C60ADA}"/>
          </ac:spMkLst>
        </pc:spChg>
        <pc:spChg chg="add del mod">
          <ac:chgData name="Bagri, Richa" userId="c261b768-4c23-454a-a1a9-f76427e7e8f0" providerId="ADAL" clId="{A3E02667-41A7-4A60-86B5-77E101F12DAB}" dt="2022-02-02T18:05:17.675" v="220" actId="478"/>
          <ac:spMkLst>
            <pc:docMk/>
            <pc:sldMk cId="1336772705" sldId="369"/>
            <ac:spMk id="34" creationId="{ADC6085C-C542-4FD6-B104-3D940C71D31C}"/>
          </ac:spMkLst>
        </pc:spChg>
        <pc:picChg chg="add del">
          <ac:chgData name="Bagri, Richa" userId="c261b768-4c23-454a-a1a9-f76427e7e8f0" providerId="ADAL" clId="{A3E02667-41A7-4A60-86B5-77E101F12DAB}" dt="2022-02-02T18:03:25.641" v="193" actId="478"/>
          <ac:picMkLst>
            <pc:docMk/>
            <pc:sldMk cId="1336772705" sldId="369"/>
            <ac:picMk id="8" creationId="{72355655-2FE7-4916-8BB2-8A6BC3830466}"/>
          </ac:picMkLst>
        </pc:picChg>
        <pc:picChg chg="add del">
          <ac:chgData name="Bagri, Richa" userId="c261b768-4c23-454a-a1a9-f76427e7e8f0" providerId="ADAL" clId="{A3E02667-41A7-4A60-86B5-77E101F12DAB}" dt="2022-02-02T18:03:28.678" v="201" actId="21"/>
          <ac:picMkLst>
            <pc:docMk/>
            <pc:sldMk cId="1336772705" sldId="369"/>
            <ac:picMk id="12" creationId="{48BF635E-2CF8-4D09-9526-A8C8BAF9EE54}"/>
          </ac:picMkLst>
        </pc:picChg>
        <pc:picChg chg="add del mod">
          <ac:chgData name="Bagri, Richa" userId="c261b768-4c23-454a-a1a9-f76427e7e8f0" providerId="ADAL" clId="{A3E02667-41A7-4A60-86B5-77E101F12DAB}" dt="2022-02-02T18:05:22.938" v="221" actId="1076"/>
          <ac:picMkLst>
            <pc:docMk/>
            <pc:sldMk cId="1336772705" sldId="369"/>
            <ac:picMk id="16" creationId="{A98E29A2-396F-4FC2-B553-EC064079F57B}"/>
          </ac:picMkLst>
        </pc:picChg>
        <pc:picChg chg="add del mod">
          <ac:chgData name="Bagri, Richa" userId="c261b768-4c23-454a-a1a9-f76427e7e8f0" providerId="ADAL" clId="{A3E02667-41A7-4A60-86B5-77E101F12DAB}" dt="2022-02-02T18:03:28.327" v="200" actId="14100"/>
          <ac:picMkLst>
            <pc:docMk/>
            <pc:sldMk cId="1336772705" sldId="369"/>
            <ac:picMk id="17" creationId="{1AF6358B-E3FB-4CB5-B3A7-1BE4DFB7A327}"/>
          </ac:picMkLst>
        </pc:picChg>
        <pc:picChg chg="add del">
          <ac:chgData name="Bagri, Richa" userId="c261b768-4c23-454a-a1a9-f76427e7e8f0" providerId="ADAL" clId="{A3E02667-41A7-4A60-86B5-77E101F12DAB}" dt="2022-02-02T18:03:29.250" v="202" actId="478"/>
          <ac:picMkLst>
            <pc:docMk/>
            <pc:sldMk cId="1336772705" sldId="369"/>
            <ac:picMk id="20" creationId="{5D503BC4-765A-4770-86D6-B1AFD8BEC5E7}"/>
          </ac:picMkLst>
        </pc:picChg>
        <pc:picChg chg="add mod">
          <ac:chgData name="Bagri, Richa" userId="c261b768-4c23-454a-a1a9-f76427e7e8f0" providerId="ADAL" clId="{A3E02667-41A7-4A60-86B5-77E101F12DAB}" dt="2022-02-02T18:03:45.775" v="207" actId="14100"/>
          <ac:picMkLst>
            <pc:docMk/>
            <pc:sldMk cId="1336772705" sldId="369"/>
            <ac:picMk id="26" creationId="{90903ECC-C19E-4BFC-B903-EB86B36613FE}"/>
          </ac:picMkLst>
        </pc:picChg>
        <pc:picChg chg="add mod">
          <ac:chgData name="Bagri, Richa" userId="c261b768-4c23-454a-a1a9-f76427e7e8f0" providerId="ADAL" clId="{A3E02667-41A7-4A60-86B5-77E101F12DAB}" dt="2022-02-02T18:04:26.436" v="212" actId="14100"/>
          <ac:picMkLst>
            <pc:docMk/>
            <pc:sldMk cId="1336772705" sldId="369"/>
            <ac:picMk id="28" creationId="{D20067BD-7009-4B78-9D38-F10CABC92D5B}"/>
          </ac:picMkLst>
        </pc:picChg>
        <pc:picChg chg="add del mod ord">
          <ac:chgData name="Bagri, Richa" userId="c261b768-4c23-454a-a1a9-f76427e7e8f0" providerId="ADAL" clId="{A3E02667-41A7-4A60-86B5-77E101F12DAB}" dt="2022-02-02T18:05:09.475" v="217" actId="478"/>
          <ac:picMkLst>
            <pc:docMk/>
            <pc:sldMk cId="1336772705" sldId="369"/>
            <ac:picMk id="30" creationId="{5374BAE1-6132-4827-A76B-6A4D24165313}"/>
          </ac:picMkLst>
        </pc:picChg>
        <pc:picChg chg="add mod ord">
          <ac:chgData name="Bagri, Richa" userId="c261b768-4c23-454a-a1a9-f76427e7e8f0" providerId="ADAL" clId="{A3E02667-41A7-4A60-86B5-77E101F12DAB}" dt="2022-02-02T18:05:44.928" v="225" actId="14100"/>
          <ac:picMkLst>
            <pc:docMk/>
            <pc:sldMk cId="1336772705" sldId="369"/>
            <ac:picMk id="36" creationId="{9FDA531A-14F4-48FF-8ADB-1771EBAD3A8C}"/>
          </ac:picMkLst>
        </pc:picChg>
        <pc:picChg chg="add mod ord">
          <ac:chgData name="Bagri, Richa" userId="c261b768-4c23-454a-a1a9-f76427e7e8f0" providerId="ADAL" clId="{A3E02667-41A7-4A60-86B5-77E101F12DAB}" dt="2022-02-02T18:06:18.759" v="226" actId="22"/>
          <ac:picMkLst>
            <pc:docMk/>
            <pc:sldMk cId="1336772705" sldId="369"/>
            <ac:picMk id="38" creationId="{253E05B7-9EE2-4E99-A179-8459172395FF}"/>
          </ac:picMkLst>
        </pc:picChg>
      </pc:sldChg>
      <pc:sldChg chg="addSp delSp modSp new mod">
        <pc:chgData name="Bagri, Richa" userId="c261b768-4c23-454a-a1a9-f76427e7e8f0" providerId="ADAL" clId="{A3E02667-41A7-4A60-86B5-77E101F12DAB}" dt="2022-02-02T18:12:00.934" v="548" actId="20577"/>
        <pc:sldMkLst>
          <pc:docMk/>
          <pc:sldMk cId="4144698869" sldId="370"/>
        </pc:sldMkLst>
        <pc:spChg chg="mod">
          <ac:chgData name="Bagri, Richa" userId="c261b768-4c23-454a-a1a9-f76427e7e8f0" providerId="ADAL" clId="{A3E02667-41A7-4A60-86B5-77E101F12DAB}" dt="2022-02-02T18:06:37.625" v="255" actId="20577"/>
          <ac:spMkLst>
            <pc:docMk/>
            <pc:sldMk cId="4144698869" sldId="370"/>
            <ac:spMk id="4" creationId="{F3F04ABE-D8B3-4FCC-90C2-CF72DA45A437}"/>
          </ac:spMkLst>
        </pc:spChg>
        <pc:spChg chg="mod">
          <ac:chgData name="Bagri, Richa" userId="c261b768-4c23-454a-a1a9-f76427e7e8f0" providerId="ADAL" clId="{A3E02667-41A7-4A60-86B5-77E101F12DAB}" dt="2022-02-02T18:10:25.566" v="318" actId="20577"/>
          <ac:spMkLst>
            <pc:docMk/>
            <pc:sldMk cId="4144698869" sldId="370"/>
            <ac:spMk id="6" creationId="{5BF7133E-61D2-4F26-9445-1DB61982C776}"/>
          </ac:spMkLst>
        </pc:spChg>
        <pc:spChg chg="mod">
          <ac:chgData name="Bagri, Richa" userId="c261b768-4c23-454a-a1a9-f76427e7e8f0" providerId="ADAL" clId="{A3E02667-41A7-4A60-86B5-77E101F12DAB}" dt="2022-02-02T18:11:27.013" v="452" actId="20577"/>
          <ac:spMkLst>
            <pc:docMk/>
            <pc:sldMk cId="4144698869" sldId="370"/>
            <ac:spMk id="7" creationId="{82557B3D-6F98-457E-ADC4-2FC6ECC0FE5A}"/>
          </ac:spMkLst>
        </pc:spChg>
        <pc:spChg chg="mod">
          <ac:chgData name="Bagri, Richa" userId="c261b768-4c23-454a-a1a9-f76427e7e8f0" providerId="ADAL" clId="{A3E02667-41A7-4A60-86B5-77E101F12DAB}" dt="2022-02-02T18:11:50.443" v="525" actId="20577"/>
          <ac:spMkLst>
            <pc:docMk/>
            <pc:sldMk cId="4144698869" sldId="370"/>
            <ac:spMk id="8" creationId="{30CB6082-DB6F-417A-99D4-8062DCD6CF3D}"/>
          </ac:spMkLst>
        </pc:spChg>
        <pc:spChg chg="mod">
          <ac:chgData name="Bagri, Richa" userId="c261b768-4c23-454a-a1a9-f76427e7e8f0" providerId="ADAL" clId="{A3E02667-41A7-4A60-86B5-77E101F12DAB}" dt="2022-02-02T18:12:00.934" v="548" actId="20577"/>
          <ac:spMkLst>
            <pc:docMk/>
            <pc:sldMk cId="4144698869" sldId="370"/>
            <ac:spMk id="9" creationId="{F05EC30A-AB76-474E-89F5-D896A86E9390}"/>
          </ac:spMkLst>
        </pc:spChg>
        <pc:spChg chg="del">
          <ac:chgData name="Bagri, Richa" userId="c261b768-4c23-454a-a1a9-f76427e7e8f0" providerId="ADAL" clId="{A3E02667-41A7-4A60-86B5-77E101F12DAB}" dt="2022-02-02T18:08:38.130" v="265" actId="22"/>
          <ac:spMkLst>
            <pc:docMk/>
            <pc:sldMk cId="4144698869" sldId="370"/>
            <ac:spMk id="11" creationId="{F42CABC8-D051-4729-89D5-40E562C2DD2B}"/>
          </ac:spMkLst>
        </pc:spChg>
        <pc:spChg chg="del">
          <ac:chgData name="Bagri, Richa" userId="c261b768-4c23-454a-a1a9-f76427e7e8f0" providerId="ADAL" clId="{A3E02667-41A7-4A60-86B5-77E101F12DAB}" dt="2022-02-02T18:09:28.516" v="268" actId="22"/>
          <ac:spMkLst>
            <pc:docMk/>
            <pc:sldMk cId="4144698869" sldId="370"/>
            <ac:spMk id="12" creationId="{355E5569-8D56-41DF-8C05-63339B07D72B}"/>
          </ac:spMkLst>
        </pc:spChg>
        <pc:spChg chg="del">
          <ac:chgData name="Bagri, Richa" userId="c261b768-4c23-454a-a1a9-f76427e7e8f0" providerId="ADAL" clId="{A3E02667-41A7-4A60-86B5-77E101F12DAB}" dt="2022-02-02T18:10:01.671" v="271" actId="22"/>
          <ac:spMkLst>
            <pc:docMk/>
            <pc:sldMk cId="4144698869" sldId="370"/>
            <ac:spMk id="13" creationId="{859707E3-C193-4536-BEC8-29E477BFCD5D}"/>
          </ac:spMkLst>
        </pc:spChg>
        <pc:picChg chg="add mod">
          <ac:chgData name="Bagri, Richa" userId="c261b768-4c23-454a-a1a9-f76427e7e8f0" providerId="ADAL" clId="{A3E02667-41A7-4A60-86B5-77E101F12DAB}" dt="2022-02-02T18:08:14.613" v="264" actId="1076"/>
          <ac:picMkLst>
            <pc:docMk/>
            <pc:sldMk cId="4144698869" sldId="370"/>
            <ac:picMk id="15" creationId="{186D1DA9-9986-499C-ABA0-D5D6B4EDEFBC}"/>
          </ac:picMkLst>
        </pc:picChg>
        <pc:picChg chg="add mod ord">
          <ac:chgData name="Bagri, Richa" userId="c261b768-4c23-454a-a1a9-f76427e7e8f0" providerId="ADAL" clId="{A3E02667-41A7-4A60-86B5-77E101F12DAB}" dt="2022-02-02T18:08:43.215" v="267" actId="14100"/>
          <ac:picMkLst>
            <pc:docMk/>
            <pc:sldMk cId="4144698869" sldId="370"/>
            <ac:picMk id="17" creationId="{9A67ED37-38B2-4D2C-B052-5635647B35F3}"/>
          </ac:picMkLst>
        </pc:picChg>
        <pc:picChg chg="add mod ord">
          <ac:chgData name="Bagri, Richa" userId="c261b768-4c23-454a-a1a9-f76427e7e8f0" providerId="ADAL" clId="{A3E02667-41A7-4A60-86B5-77E101F12DAB}" dt="2022-02-02T18:09:33.094" v="270" actId="14100"/>
          <ac:picMkLst>
            <pc:docMk/>
            <pc:sldMk cId="4144698869" sldId="370"/>
            <ac:picMk id="19" creationId="{9C296737-EFD8-42C1-90D6-9EE50C2D2A02}"/>
          </ac:picMkLst>
        </pc:picChg>
        <pc:picChg chg="add mod ord">
          <ac:chgData name="Bagri, Richa" userId="c261b768-4c23-454a-a1a9-f76427e7e8f0" providerId="ADAL" clId="{A3E02667-41A7-4A60-86B5-77E101F12DAB}" dt="2022-02-02T18:10:06.789" v="273" actId="14100"/>
          <ac:picMkLst>
            <pc:docMk/>
            <pc:sldMk cId="4144698869" sldId="370"/>
            <ac:picMk id="21" creationId="{198BBAB5-9E45-4E82-8323-1383C81A1BEE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7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2/2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2/2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3">
            <a:extLst>
              <a:ext uri="{FF2B5EF4-FFF2-40B4-BE49-F238E27FC236}">
                <a16:creationId xmlns:a16="http://schemas.microsoft.com/office/drawing/2014/main" id="{379C5F59-8B65-447B-8DA4-3F27998709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2" r="3262"/>
          <a:stretch>
            <a:fillRect/>
          </a:stretch>
        </p:blipFill>
        <p:spPr>
          <a:xfrm>
            <a:off x="263352" y="3060219"/>
            <a:ext cx="10080625" cy="2348880"/>
          </a:xfr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6D6DA9F7-DB64-4567-BE8E-E069C1B101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845800"/>
            <a:ext cx="10080625" cy="3304175"/>
          </a:xfrm>
        </p:spPr>
        <p:txBody>
          <a:bodyPr/>
          <a:lstStyle/>
          <a:p>
            <a:r>
              <a:rPr lang="en-US" dirty="0" err="1"/>
              <a:t>ClickUp</a:t>
            </a:r>
            <a:r>
              <a:rPr lang="en-US" dirty="0"/>
              <a:t> Provider</a:t>
            </a:r>
          </a:p>
        </p:txBody>
      </p:sp>
      <p:sp>
        <p:nvSpPr>
          <p:cNvPr id="17" name="Subtitle 16">
            <a:extLst>
              <a:ext uri="{FF2B5EF4-FFF2-40B4-BE49-F238E27FC236}">
                <a16:creationId xmlns:a16="http://schemas.microsoft.com/office/drawing/2014/main" id="{86EFEFE6-40D8-4F98-A8DC-DB4A69331A7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950" y="5676822"/>
            <a:ext cx="5637963" cy="38898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A8455E1-E124-45CE-B4DD-AE99CCF9A2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articipants:</a:t>
            </a:r>
          </a:p>
          <a:p>
            <a:r>
              <a:rPr lang="en-US" dirty="0"/>
              <a:t>Richa Bagri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4FEAB-448B-4DCC-BAEA-3E1F6EF81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A65AAB-DDEE-4779-8335-BF20D8D37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71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lickUp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US" sz="1800" b="1" kern="0" dirty="0" err="1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ickUp</a:t>
            </a:r>
            <a:r>
              <a:rPr lang="en-US" sz="1800" b="1" kern="0" dirty="0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Connector is a new </a:t>
            </a:r>
            <a:r>
              <a:rPr lang="en-IN" sz="1800" b="1" u="none" strike="noStrike" kern="0" spc="0" dirty="0" err="1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bMethods</a:t>
            </a:r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1800" b="1" u="none" strike="noStrike" kern="0" spc="0" dirty="0" err="1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oudStreams</a:t>
            </a:r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rovider for </a:t>
            </a:r>
            <a:r>
              <a:rPr lang="en-IN" sz="1800" b="1" u="none" strike="noStrike" kern="0" spc="0" dirty="0" err="1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ickUp</a:t>
            </a:r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SAAS application.</a:t>
            </a:r>
          </a:p>
          <a:p>
            <a:r>
              <a:rPr lang="en-US" b="0" i="0" dirty="0" err="1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ClickUp</a:t>
            </a:r>
            <a:r>
              <a:rPr lang="en-US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 is a cloud-based collaboration and project management tool suitable for businesses of all sizes and industries. Features include communication and collaboration tools, task assignments and statuses, alerts and a task toolbar. The activity stream displays tasks as they're created and completed in real time. </a:t>
            </a:r>
          </a:p>
          <a:p>
            <a:r>
              <a:rPr lang="en-US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You can use it to  manage spaces, folders, list, tags, tasks </a:t>
            </a:r>
            <a:r>
              <a:rPr lang="en-US" b="1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and much more</a:t>
            </a:r>
            <a:r>
              <a:rPr lang="en-US" dirty="0"/>
              <a:t>.</a:t>
            </a:r>
          </a:p>
          <a:p>
            <a:r>
              <a:rPr lang="en-US" dirty="0" err="1"/>
              <a:t>ClickUp</a:t>
            </a:r>
            <a:r>
              <a:rPr lang="en-US" dirty="0"/>
              <a:t> Connector performs CURD operations. Helps in creating, updating, retrieving and deleting records from spaces, list, folders, tasks, tags.</a:t>
            </a:r>
          </a:p>
          <a:p>
            <a:r>
              <a:rPr lang="en-US" dirty="0" err="1"/>
              <a:t>ClickUp</a:t>
            </a:r>
            <a:r>
              <a:rPr lang="en-US" dirty="0"/>
              <a:t> Connector is a lightweight connector, excellent collaboration and integrates easily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2597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9301" y="6539400"/>
            <a:ext cx="5346700" cy="97938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© 2021 Software AG. All rights reserved. For internal use only and for Software AG Partners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1200" y="6539400"/>
            <a:ext cx="388100" cy="97938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22FF84AA-2C76-4AF1-8502-73D25D47F37C}" type="slidenum">
              <a:rPr lang="en-US" smtClean="0"/>
              <a:pPr>
                <a:spcAft>
                  <a:spcPts val="600"/>
                </a:spcAft>
              </a:pPr>
              <a:t>3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IN" dirty="0"/>
              <a:t>Screenshots </a:t>
            </a:r>
            <a:r>
              <a:rPr lang="en-IN"/>
              <a:t>for workflow</a:t>
            </a:r>
          </a:p>
        </p:txBody>
      </p:sp>
      <p:sp>
        <p:nvSpPr>
          <p:cNvPr id="52" name="Subtitle 4">
            <a:extLst>
              <a:ext uri="{FF2B5EF4-FFF2-40B4-BE49-F238E27FC236}">
                <a16:creationId xmlns:a16="http://schemas.microsoft.com/office/drawing/2014/main" id="{4A9BD0F6-98B6-43A1-859C-EEB82319250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/>
          <a:lstStyle/>
          <a:p>
            <a:endParaRPr lang="en-US"/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B1640204-25B7-44D6-A958-6DBB85942E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/>
          <a:p>
            <a:r>
              <a:rPr lang="en-US" dirty="0"/>
              <a:t>Workflow which helps in getting all records and getting a specific project record. </a:t>
            </a:r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7AA69BD0-B28F-4D3F-ADE1-6943875A0B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/>
          <a:p>
            <a:r>
              <a:rPr lang="en-US" dirty="0"/>
              <a:t>Select the operation to be performed by the connector.</a:t>
            </a:r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38F5E094-96EB-4145-963E-9DA09B7BAC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/>
          <a:p>
            <a:r>
              <a:rPr lang="en-US" dirty="0"/>
              <a:t>Mapping the data for the action.</a:t>
            </a:r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F58F5322-894A-41C1-BCCB-70C1C65295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/>
          <a:p>
            <a:r>
              <a:rPr lang="en-US" dirty="0"/>
              <a:t>Logger information of the connecter data.</a:t>
            </a:r>
          </a:p>
        </p:txBody>
      </p:sp>
      <p:pic>
        <p:nvPicPr>
          <p:cNvPr id="16" name="Content Placeholder 15">
            <a:extLst>
              <a:ext uri="{FF2B5EF4-FFF2-40B4-BE49-F238E27FC236}">
                <a16:creationId xmlns:a16="http://schemas.microsoft.com/office/drawing/2014/main" id="{A98E29A2-396F-4FC2-B553-EC064079F57B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2"/>
          <a:stretch>
            <a:fillRect/>
          </a:stretch>
        </p:blipFill>
        <p:spPr>
          <a:xfrm>
            <a:off x="6191316" y="1858935"/>
            <a:ext cx="2719388" cy="1565431"/>
          </a:xfr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AF6358B-E3FB-4CB5-B3A7-1BE4DFB7A3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201" y="1815019"/>
            <a:ext cx="2710523" cy="1670723"/>
          </a:xfrm>
          <a:prstGeom prst="rect">
            <a:avLst/>
          </a:prstGeom>
        </p:spPr>
      </p:pic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EA3032F8-AC61-4CEC-B362-302D7049972C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38" name="Content Placeholder 37">
            <a:extLst>
              <a:ext uri="{FF2B5EF4-FFF2-40B4-BE49-F238E27FC236}">
                <a16:creationId xmlns:a16="http://schemas.microsoft.com/office/drawing/2014/main" id="{253E05B7-9EE2-4E99-A179-8459172395FF}"/>
              </a:ext>
            </a:extLst>
          </p:cNvPr>
          <p:cNvPicPr>
            <a:picLocks noGrp="1" noChangeAspect="1"/>
          </p:cNvPicPr>
          <p:nvPr>
            <p:ph sz="quarter" idx="24"/>
          </p:nvPr>
        </p:nvPicPr>
        <p:blipFill>
          <a:blip r:embed="rId4"/>
          <a:stretch>
            <a:fillRect/>
          </a:stretch>
        </p:blipFill>
        <p:spPr>
          <a:xfrm>
            <a:off x="9109075" y="2023224"/>
            <a:ext cx="2720975" cy="1451064"/>
          </a:xfr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0903ECC-C19E-4BFC-B903-EB86B36613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480" y="1819608"/>
            <a:ext cx="2703687" cy="173537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D20067BD-7009-4B78-9D38-F10CABC92D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75385" y="1878537"/>
            <a:ext cx="2781479" cy="1607205"/>
          </a:xfrm>
          <a:prstGeom prst="rect">
            <a:avLst/>
          </a:prstGeom>
        </p:spPr>
      </p:pic>
      <p:pic>
        <p:nvPicPr>
          <p:cNvPr id="36" name="Content Placeholder 35">
            <a:extLst>
              <a:ext uri="{FF2B5EF4-FFF2-40B4-BE49-F238E27FC236}">
                <a16:creationId xmlns:a16="http://schemas.microsoft.com/office/drawing/2014/main" id="{9FDA531A-14F4-48FF-8ADB-1771EBAD3A8C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6"/>
          <a:stretch>
            <a:fillRect/>
          </a:stretch>
        </p:blipFill>
        <p:spPr>
          <a:xfrm>
            <a:off x="6192838" y="1877348"/>
            <a:ext cx="2720975" cy="1547018"/>
          </a:xfrm>
        </p:spPr>
      </p:pic>
    </p:spTree>
    <p:extLst>
      <p:ext uri="{BB962C8B-B14F-4D97-AF65-F5344CB8AC3E}">
        <p14:creationId xmlns:p14="http://schemas.microsoft.com/office/powerpoint/2010/main" val="13367727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1B86CEC-1E11-4C4A-95EC-899B9618C8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29F3E0-E20D-4E95-9848-4FFE82C4E3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3F04ABE-D8B3-4FCC-90C2-CF72DA45A4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reenshots for flow service</a:t>
            </a:r>
            <a:endParaRPr lang="en-IN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1DF13F20-DF8D-4B2D-B358-AD3188CB21C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BF7133E-61D2-4F26-9445-1DB61982C7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Flowservice</a:t>
            </a:r>
            <a:r>
              <a:rPr lang="en-US" dirty="0"/>
              <a:t> using the </a:t>
            </a:r>
            <a:r>
              <a:rPr lang="en-US" dirty="0" err="1"/>
              <a:t>clickup</a:t>
            </a:r>
            <a:r>
              <a:rPr lang="en-US" dirty="0"/>
              <a:t> crud operations</a:t>
            </a:r>
            <a:endParaRPr lang="en-IN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557B3D-6F98-457E-ADC4-2FC6ECC0FE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Used all the nested operations for creating folders inside a space; List inside folder; Tag inside list; task inside list </a:t>
            </a:r>
            <a:r>
              <a:rPr lang="en-US" dirty="0" err="1"/>
              <a:t>etc</a:t>
            </a:r>
            <a:endParaRPr lang="en-IN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0CB6082-DB6F-417A-99D4-8062DCD6CF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ample mapping from output of one step to input of another</a:t>
            </a:r>
            <a:endParaRPr lang="en-IN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5EC30A-AB76-474E-89F5-D896A86E939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ccessful run results</a:t>
            </a:r>
            <a:endParaRPr lang="en-IN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C1F7BF7-32F5-4576-A0B3-DFBCEBE488BD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17" name="Content Placeholder 16">
            <a:extLst>
              <a:ext uri="{FF2B5EF4-FFF2-40B4-BE49-F238E27FC236}">
                <a16:creationId xmlns:a16="http://schemas.microsoft.com/office/drawing/2014/main" id="{9A67ED37-38B2-4D2C-B052-5635647B35F3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2"/>
          <a:stretch>
            <a:fillRect/>
          </a:stretch>
        </p:blipFill>
        <p:spPr>
          <a:xfrm>
            <a:off x="3276600" y="1777563"/>
            <a:ext cx="2720975" cy="1943036"/>
          </a:xfrm>
        </p:spPr>
      </p:pic>
      <p:pic>
        <p:nvPicPr>
          <p:cNvPr id="19" name="Content Placeholder 18">
            <a:extLst>
              <a:ext uri="{FF2B5EF4-FFF2-40B4-BE49-F238E27FC236}">
                <a16:creationId xmlns:a16="http://schemas.microsoft.com/office/drawing/2014/main" id="{9C296737-EFD8-42C1-90D6-9EE50C2D2A02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3"/>
          <a:stretch>
            <a:fillRect/>
          </a:stretch>
        </p:blipFill>
        <p:spPr>
          <a:xfrm>
            <a:off x="6192838" y="1777562"/>
            <a:ext cx="2720975" cy="1943037"/>
          </a:xfrm>
        </p:spPr>
      </p:pic>
      <p:pic>
        <p:nvPicPr>
          <p:cNvPr id="21" name="Content Placeholder 20">
            <a:extLst>
              <a:ext uri="{FF2B5EF4-FFF2-40B4-BE49-F238E27FC236}">
                <a16:creationId xmlns:a16="http://schemas.microsoft.com/office/drawing/2014/main" id="{198BBAB5-9E45-4E82-8323-1383C81A1BEE}"/>
              </a:ext>
            </a:extLst>
          </p:cNvPr>
          <p:cNvPicPr>
            <a:picLocks noGrp="1" noChangeAspect="1"/>
          </p:cNvPicPr>
          <p:nvPr>
            <p:ph sz="quarter" idx="24"/>
          </p:nvPr>
        </p:nvPicPr>
        <p:blipFill>
          <a:blip r:embed="rId4"/>
          <a:stretch>
            <a:fillRect/>
          </a:stretch>
        </p:blipFill>
        <p:spPr>
          <a:xfrm>
            <a:off x="9109075" y="1777562"/>
            <a:ext cx="2720975" cy="1943037"/>
          </a:xfr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86D1DA9-9986-499C-ABA0-D5D6B4EDEF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5016" y="1777562"/>
            <a:ext cx="2720851" cy="1943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6988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254AEB-7560-4FDF-83DE-ACEDD50906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3E64A-9F9B-478B-85FC-2B62EB076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04.05.2021 11:39:05.112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BEFA1B04-0967-4EBB-B6B5-968E9C45D404}" vid="{8FC10CF7-5BFF-4A85-A9CE-590AE55A90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321</Words>
  <Application>Microsoft Office PowerPoint</Application>
  <PresentationFormat>Widescreen</PresentationFormat>
  <Paragraphs>32</Paragraphs>
  <Slides>5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Rubik</vt:lpstr>
      <vt:lpstr>Trebuchet MS</vt:lpstr>
      <vt:lpstr>Wingdings</vt:lpstr>
      <vt:lpstr>Symbol</vt:lpstr>
      <vt:lpstr>Software AG 2021</vt:lpstr>
      <vt:lpstr>ClickUp Provider</vt:lpstr>
      <vt:lpstr>ClickUp</vt:lpstr>
      <vt:lpstr>Screenshots for workflow</vt:lpstr>
      <vt:lpstr>Screenshots for flow service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SaaS Name&gt; Provider</dc:title>
  <dc:creator>Bhushan Ray, Vidya</dc:creator>
  <cp:lastModifiedBy>Bagri, Richa</cp:lastModifiedBy>
  <cp:revision>1</cp:revision>
  <dcterms:created xsi:type="dcterms:W3CDTF">2022-01-10T12:32:13Z</dcterms:created>
  <dcterms:modified xsi:type="dcterms:W3CDTF">2022-02-02T18:12:08Z</dcterms:modified>
</cp:coreProperties>
</file>